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9"/>
  </p:notesMasterIdLst>
  <p:handoutMasterIdLst>
    <p:handoutMasterId r:id="rId10"/>
  </p:handoutMasterIdLst>
  <p:sldIdLst>
    <p:sldId id="256" r:id="rId5"/>
    <p:sldId id="257" r:id="rId6"/>
    <p:sldId id="260" r:id="rId7"/>
    <p:sldId id="258" r:id="rId8"/>
  </p:sldIdLst>
  <p:sldSz cx="6858000" cy="6858000"/>
  <p:notesSz cx="6858000" cy="9144000"/>
  <p:embeddedFontLst>
    <p:embeddedFont>
      <p:font typeface="Arial Black" panose="020B0604020202020204" pitchFamily="34" charset="0"/>
      <p:bold r:id="rId11"/>
    </p:embeddedFont>
    <p:embeddedFont>
      <p:font typeface="Barlow" pitchFamily="2" charset="77"/>
      <p:regular r:id="rId12"/>
      <p:bold r:id="rId13"/>
      <p:italic r:id="rId14"/>
      <p:boldItalic r:id="rId15"/>
    </p:embeddedFont>
    <p:embeddedFont>
      <p:font typeface="Barlow Semi Condensed ExtraBold" panose="020F0502020204030204" pitchFamily="34" charset="0"/>
      <p:bold r:id="rId16"/>
      <p:italic r:id="rId17"/>
      <p:boldItalic r:id="rId18"/>
    </p:embeddedFont>
    <p:embeddedFont>
      <p:font typeface="HelveticaNeueLT Std Lt Cn" panose="020B040602020203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1B5A"/>
    <a:srgbClr val="E2DA51"/>
    <a:srgbClr val="00C1BD"/>
    <a:srgbClr val="FFE1EC"/>
    <a:srgbClr val="451B67"/>
    <a:srgbClr val="F3F0B9"/>
    <a:srgbClr val="9FE5D8"/>
    <a:srgbClr val="4B555F"/>
    <a:srgbClr val="647F54"/>
    <a:srgbClr val="A80FC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01"/>
  </p:normalViewPr>
  <p:slideViewPr>
    <p:cSldViewPr snapToGrid="0">
      <p:cViewPr varScale="1">
        <p:scale>
          <a:sx n="104" d="100"/>
          <a:sy n="104" d="100"/>
        </p:scale>
        <p:origin x="2624" y="2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3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1.fntdata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font" Target="fonts/font5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/>
              <a:pPr algn="ctr"/>
              <a:t>‹#›</a:t>
            </a:fld>
            <a:endParaRPr lang="en-GB"/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885950" y="1143000"/>
            <a:ext cx="30861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3B8578AD-0529-46A5-84EB-6338160D5A7D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sz="1800" kern="10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 </a:t>
            </a:r>
            <a:endParaRPr lang="fr-FR" sz="1800" kern="10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974054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B8578AD-0529-46A5-84EB-6338160D5A7D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50659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2770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99A8B90-87CD-4260-BD04-1C5EEF5CA2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72458" y="613187"/>
            <a:ext cx="2179111" cy="4774541"/>
          </a:xfrm>
          <a:custGeom>
            <a:avLst/>
            <a:gdLst>
              <a:gd name="connsiteX0" fmla="*/ 0 w 3863752"/>
              <a:gd name="connsiteY0" fmla="*/ 0 h 4767039"/>
              <a:gd name="connsiteX1" fmla="*/ 3863752 w 3863752"/>
              <a:gd name="connsiteY1" fmla="*/ 0 h 4767039"/>
              <a:gd name="connsiteX2" fmla="*/ 3863752 w 3863752"/>
              <a:gd name="connsiteY2" fmla="*/ 4767039 h 4767039"/>
              <a:gd name="connsiteX3" fmla="*/ 0 w 3863752"/>
              <a:gd name="connsiteY3" fmla="*/ 4767039 h 4767039"/>
              <a:gd name="connsiteX4" fmla="*/ 0 w 3863752"/>
              <a:gd name="connsiteY4" fmla="*/ 0 h 4767039"/>
              <a:gd name="connsiteX0" fmla="*/ 0 w 3863752"/>
              <a:gd name="connsiteY0" fmla="*/ 7502 h 4774541"/>
              <a:gd name="connsiteX1" fmla="*/ 1044026 w 3863752"/>
              <a:gd name="connsiteY1" fmla="*/ 0 h 4774541"/>
              <a:gd name="connsiteX2" fmla="*/ 3863752 w 3863752"/>
              <a:gd name="connsiteY2" fmla="*/ 7502 h 4774541"/>
              <a:gd name="connsiteX3" fmla="*/ 3863752 w 3863752"/>
              <a:gd name="connsiteY3" fmla="*/ 4774541 h 4774541"/>
              <a:gd name="connsiteX4" fmla="*/ 0 w 3863752"/>
              <a:gd name="connsiteY4" fmla="*/ 4774541 h 4774541"/>
              <a:gd name="connsiteX5" fmla="*/ 0 w 3863752"/>
              <a:gd name="connsiteY5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1151068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6" fmla="*/ 10223 w 3873975"/>
              <a:gd name="connsiteY6" fmla="*/ 7502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3975" h="4774541">
                <a:moveTo>
                  <a:pt x="0" y="968187"/>
                </a:moveTo>
                <a:cubicBezTo>
                  <a:pt x="469840" y="575842"/>
                  <a:pt x="634498" y="412918"/>
                  <a:pt x="1118795" y="0"/>
                </a:cubicBezTo>
                <a:lnTo>
                  <a:pt x="3873975" y="7502"/>
                </a:lnTo>
                <a:lnTo>
                  <a:pt x="3873975" y="4774541"/>
                </a:lnTo>
                <a:lnTo>
                  <a:pt x="10223" y="4774541"/>
                </a:lnTo>
                <a:cubicBezTo>
                  <a:pt x="6815" y="3566717"/>
                  <a:pt x="3408" y="2176011"/>
                  <a:pt x="0" y="968187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GB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071315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499A8B90-87CD-4260-BD04-1C5EEF5CA21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7109" y="613187"/>
            <a:ext cx="2184460" cy="3763889"/>
          </a:xfrm>
          <a:custGeom>
            <a:avLst/>
            <a:gdLst>
              <a:gd name="connsiteX0" fmla="*/ 0 w 3863752"/>
              <a:gd name="connsiteY0" fmla="*/ 0 h 4767039"/>
              <a:gd name="connsiteX1" fmla="*/ 3863752 w 3863752"/>
              <a:gd name="connsiteY1" fmla="*/ 0 h 4767039"/>
              <a:gd name="connsiteX2" fmla="*/ 3863752 w 3863752"/>
              <a:gd name="connsiteY2" fmla="*/ 4767039 h 4767039"/>
              <a:gd name="connsiteX3" fmla="*/ 0 w 3863752"/>
              <a:gd name="connsiteY3" fmla="*/ 4767039 h 4767039"/>
              <a:gd name="connsiteX4" fmla="*/ 0 w 3863752"/>
              <a:gd name="connsiteY4" fmla="*/ 0 h 4767039"/>
              <a:gd name="connsiteX0" fmla="*/ 0 w 3863752"/>
              <a:gd name="connsiteY0" fmla="*/ 7502 h 4774541"/>
              <a:gd name="connsiteX1" fmla="*/ 1044026 w 3863752"/>
              <a:gd name="connsiteY1" fmla="*/ 0 h 4774541"/>
              <a:gd name="connsiteX2" fmla="*/ 3863752 w 3863752"/>
              <a:gd name="connsiteY2" fmla="*/ 7502 h 4774541"/>
              <a:gd name="connsiteX3" fmla="*/ 3863752 w 3863752"/>
              <a:gd name="connsiteY3" fmla="*/ 4774541 h 4774541"/>
              <a:gd name="connsiteX4" fmla="*/ 0 w 3863752"/>
              <a:gd name="connsiteY4" fmla="*/ 4774541 h 4774541"/>
              <a:gd name="connsiteX5" fmla="*/ 0 w 3863752"/>
              <a:gd name="connsiteY5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1151068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054249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57430 h 4774541"/>
              <a:gd name="connsiteX6" fmla="*/ 10223 w 3873975"/>
              <a:gd name="connsiteY6" fmla="*/ 7502 h 4774541"/>
              <a:gd name="connsiteX0" fmla="*/ 10223 w 3873975"/>
              <a:gd name="connsiteY0" fmla="*/ 7502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6" fmla="*/ 10223 w 3873975"/>
              <a:gd name="connsiteY6" fmla="*/ 7502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4774541 h 4774541"/>
              <a:gd name="connsiteX5" fmla="*/ 0 w 3873975"/>
              <a:gd name="connsiteY5" fmla="*/ 968187 h 4774541"/>
              <a:gd name="connsiteX0" fmla="*/ 0 w 3873975"/>
              <a:gd name="connsiteY0" fmla="*/ 968187 h 4774541"/>
              <a:gd name="connsiteX1" fmla="*/ 1118795 w 3873975"/>
              <a:gd name="connsiteY1" fmla="*/ 0 h 4774541"/>
              <a:gd name="connsiteX2" fmla="*/ 3873975 w 3873975"/>
              <a:gd name="connsiteY2" fmla="*/ 7502 h 4774541"/>
              <a:gd name="connsiteX3" fmla="*/ 3873975 w 3873975"/>
              <a:gd name="connsiteY3" fmla="*/ 4774541 h 4774541"/>
              <a:gd name="connsiteX4" fmla="*/ 10223 w 3873975"/>
              <a:gd name="connsiteY4" fmla="*/ 3350002 h 4774541"/>
              <a:gd name="connsiteX5" fmla="*/ 0 w 3873975"/>
              <a:gd name="connsiteY5" fmla="*/ 968187 h 4774541"/>
              <a:gd name="connsiteX0" fmla="*/ 0 w 3873975"/>
              <a:gd name="connsiteY0" fmla="*/ 968187 h 3350002"/>
              <a:gd name="connsiteX1" fmla="*/ 1118795 w 3873975"/>
              <a:gd name="connsiteY1" fmla="*/ 0 h 3350002"/>
              <a:gd name="connsiteX2" fmla="*/ 3873975 w 3873975"/>
              <a:gd name="connsiteY2" fmla="*/ 7502 h 3350002"/>
              <a:gd name="connsiteX3" fmla="*/ 3845099 w 3873975"/>
              <a:gd name="connsiteY3" fmla="*/ 3330752 h 3350002"/>
              <a:gd name="connsiteX4" fmla="*/ 10223 w 3873975"/>
              <a:gd name="connsiteY4" fmla="*/ 3350002 h 3350002"/>
              <a:gd name="connsiteX5" fmla="*/ 0 w 3873975"/>
              <a:gd name="connsiteY5" fmla="*/ 968187 h 3350002"/>
              <a:gd name="connsiteX0" fmla="*/ 0 w 3873975"/>
              <a:gd name="connsiteY0" fmla="*/ 968187 h 3763889"/>
              <a:gd name="connsiteX1" fmla="*/ 1118795 w 3873975"/>
              <a:gd name="connsiteY1" fmla="*/ 0 h 3763889"/>
              <a:gd name="connsiteX2" fmla="*/ 3873975 w 3873975"/>
              <a:gd name="connsiteY2" fmla="*/ 7502 h 3763889"/>
              <a:gd name="connsiteX3" fmla="*/ 3854724 w 3873975"/>
              <a:gd name="connsiteY3" fmla="*/ 3763889 h 3763889"/>
              <a:gd name="connsiteX4" fmla="*/ 10223 w 3873975"/>
              <a:gd name="connsiteY4" fmla="*/ 3350002 h 3763889"/>
              <a:gd name="connsiteX5" fmla="*/ 0 w 3873975"/>
              <a:gd name="connsiteY5" fmla="*/ 968187 h 3763889"/>
              <a:gd name="connsiteX0" fmla="*/ 0 w 3873975"/>
              <a:gd name="connsiteY0" fmla="*/ 968187 h 3763889"/>
              <a:gd name="connsiteX1" fmla="*/ 1118795 w 3873975"/>
              <a:gd name="connsiteY1" fmla="*/ 0 h 3763889"/>
              <a:gd name="connsiteX2" fmla="*/ 3873975 w 3873975"/>
              <a:gd name="connsiteY2" fmla="*/ 7502 h 3763889"/>
              <a:gd name="connsiteX3" fmla="*/ 3854724 w 3873975"/>
              <a:gd name="connsiteY3" fmla="*/ 3763889 h 3763889"/>
              <a:gd name="connsiteX4" fmla="*/ 10223 w 3873975"/>
              <a:gd name="connsiteY4" fmla="*/ 3763888 h 3763889"/>
              <a:gd name="connsiteX5" fmla="*/ 0 w 3873975"/>
              <a:gd name="connsiteY5" fmla="*/ 968187 h 3763889"/>
              <a:gd name="connsiteX0" fmla="*/ 9510 w 3883485"/>
              <a:gd name="connsiteY0" fmla="*/ 968187 h 3763889"/>
              <a:gd name="connsiteX1" fmla="*/ 1128305 w 3883485"/>
              <a:gd name="connsiteY1" fmla="*/ 0 h 3763889"/>
              <a:gd name="connsiteX2" fmla="*/ 3883485 w 3883485"/>
              <a:gd name="connsiteY2" fmla="*/ 7502 h 3763889"/>
              <a:gd name="connsiteX3" fmla="*/ 3864234 w 3883485"/>
              <a:gd name="connsiteY3" fmla="*/ 3763889 h 3763889"/>
              <a:gd name="connsiteX4" fmla="*/ 483 w 3883485"/>
              <a:gd name="connsiteY4" fmla="*/ 3763888 h 3763889"/>
              <a:gd name="connsiteX5" fmla="*/ 9510 w 3883485"/>
              <a:gd name="connsiteY5" fmla="*/ 968187 h 3763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83485" h="3763889">
                <a:moveTo>
                  <a:pt x="9510" y="968187"/>
                </a:moveTo>
                <a:cubicBezTo>
                  <a:pt x="479350" y="575842"/>
                  <a:pt x="644008" y="412918"/>
                  <a:pt x="1128305" y="0"/>
                </a:cubicBezTo>
                <a:lnTo>
                  <a:pt x="3883485" y="7502"/>
                </a:lnTo>
                <a:lnTo>
                  <a:pt x="3864234" y="3763889"/>
                </a:lnTo>
                <a:lnTo>
                  <a:pt x="483" y="3763888"/>
                </a:lnTo>
                <a:cubicBezTo>
                  <a:pt x="-2925" y="2556064"/>
                  <a:pt x="12918" y="2176011"/>
                  <a:pt x="9510" y="968187"/>
                </a:cubicBezTo>
                <a:close/>
              </a:path>
            </a:pathLst>
          </a:custGeom>
        </p:spPr>
        <p:txBody>
          <a:bodyPr/>
          <a:lstStyle/>
          <a:p>
            <a:r>
              <a:rPr lang="en-GB"/>
              <a:t>Click icon to add pictu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055094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893" y="1588"/>
          <a:ext cx="89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e think-cell" r:id="rId7" imgW="532" imgH="530" progId="TCLayout.ActiveDocument.1">
                  <p:embed/>
                </p:oleObj>
              </mc:Choice>
              <mc:Fallback>
                <p:oleObj name="Diapositive think-cell" r:id="rId7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893" y="1588"/>
                        <a:ext cx="89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89297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69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7" r:id="rId2"/>
    <p:sldLayoutId id="2147483768" r:id="rId3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jpe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1D7788-264A-15F0-949D-59E5BF5A06DB}"/>
              </a:ext>
            </a:extLst>
          </p:cNvPr>
          <p:cNvSpPr/>
          <p:nvPr/>
        </p:nvSpPr>
        <p:spPr>
          <a:xfrm>
            <a:off x="0" y="-99392"/>
            <a:ext cx="6876833" cy="6957392"/>
          </a:xfrm>
          <a:prstGeom prst="rect">
            <a:avLst/>
          </a:prstGeom>
          <a:solidFill>
            <a:srgbClr val="451B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7" name="Image 6">
            <a:extLst>
              <a:ext uri="{FF2B5EF4-FFF2-40B4-BE49-F238E27FC236}">
                <a16:creationId xmlns:a16="http://schemas.microsoft.com/office/drawing/2014/main" id="{39DA7CF3-C162-C0ED-A6F1-E000D6CA34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7" t="1247" r="17210" b="43149"/>
          <a:stretch/>
        </p:blipFill>
        <p:spPr>
          <a:xfrm>
            <a:off x="-16094" y="-99392"/>
            <a:ext cx="6906278" cy="6957392"/>
          </a:xfrm>
          <a:prstGeom prst="rect">
            <a:avLst/>
          </a:prstGeom>
        </p:spPr>
      </p:pic>
      <p:sp>
        <p:nvSpPr>
          <p:cNvPr id="10" name="Flèche : chevron 9">
            <a:extLst>
              <a:ext uri="{FF2B5EF4-FFF2-40B4-BE49-F238E27FC236}">
                <a16:creationId xmlns:a16="http://schemas.microsoft.com/office/drawing/2014/main" id="{8356E5D6-7BA0-BD9C-D6EC-E1BBF2069494}"/>
              </a:ext>
            </a:extLst>
          </p:cNvPr>
          <p:cNvSpPr/>
          <p:nvPr/>
        </p:nvSpPr>
        <p:spPr>
          <a:xfrm>
            <a:off x="5981923" y="5014882"/>
            <a:ext cx="360040" cy="450149"/>
          </a:xfrm>
          <a:prstGeom prst="chevron">
            <a:avLst/>
          </a:prstGeom>
          <a:solidFill>
            <a:srgbClr val="00C1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28E0CC7-F39A-EE79-3277-0FF105880158}"/>
              </a:ext>
            </a:extLst>
          </p:cNvPr>
          <p:cNvSpPr/>
          <p:nvPr/>
        </p:nvSpPr>
        <p:spPr>
          <a:xfrm>
            <a:off x="4958" y="-99392"/>
            <a:ext cx="6906278" cy="6986757"/>
          </a:xfrm>
          <a:prstGeom prst="rect">
            <a:avLst/>
          </a:prstGeom>
          <a:solidFill>
            <a:schemeClr val="tx1">
              <a:alpha val="1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4400" b="1" cap="all" dirty="0">
              <a:solidFill>
                <a:sysClr val="window" lastClr="FFFFFF"/>
              </a:solidFill>
              <a:latin typeface="Barlow Semi Condensed ExtraBold"/>
              <a:ea typeface="+mj-ea"/>
              <a:cs typeface="+mj-cs"/>
            </a:endParaRPr>
          </a:p>
        </p:txBody>
      </p:sp>
      <p:sp>
        <p:nvSpPr>
          <p:cNvPr id="3" name="Title 3">
            <a:extLst>
              <a:ext uri="{FF2B5EF4-FFF2-40B4-BE49-F238E27FC236}">
                <a16:creationId xmlns:a16="http://schemas.microsoft.com/office/drawing/2014/main" id="{E653CD1A-6E6E-8435-6846-4C40A86D055A}"/>
              </a:ext>
            </a:extLst>
          </p:cNvPr>
          <p:cNvSpPr txBox="1">
            <a:spLocks/>
          </p:cNvSpPr>
          <p:nvPr/>
        </p:nvSpPr>
        <p:spPr>
          <a:xfrm>
            <a:off x="217086" y="181838"/>
            <a:ext cx="7262747" cy="145667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sysClr val="window" lastClr="FFFFFF"/>
                </a:solidFill>
                <a:latin typeface="Barlow Semi Condensed ExtraBold"/>
              </a:rPr>
              <a:t>‘EDEN - Education and Engagement’</a:t>
            </a:r>
          </a:p>
          <a:p>
            <a:pPr>
              <a:defRPr/>
            </a:pPr>
            <a:r>
              <a:rPr lang="en-US" sz="3200" dirty="0">
                <a:solidFill>
                  <a:sysClr val="window" lastClr="FFFFFF"/>
                </a:solidFill>
                <a:latin typeface="Barlow Semi Condensed ExtraBold"/>
              </a:rPr>
              <a:t> Fondazione Ipsos &amp; KISEDET</a:t>
            </a:r>
          </a:p>
          <a:p>
            <a:pPr>
              <a:defRPr/>
            </a:pPr>
            <a:endParaRPr lang="en-US" sz="3600" dirty="0">
              <a:solidFill>
                <a:sysClr val="window" lastClr="FFFFFF"/>
              </a:solidFill>
              <a:latin typeface="Barlow Semi Condensed ExtraBold"/>
            </a:endParaRPr>
          </a:p>
          <a:p>
            <a:pPr>
              <a:defRPr/>
            </a:pPr>
            <a:r>
              <a:rPr lang="it-IT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  <a:t>Supportiamo bambin* e famiglie in Tanzania</a:t>
            </a:r>
          </a:p>
          <a:p>
            <a:pPr>
              <a:defRPr/>
            </a:pPr>
            <a:r>
              <a:rPr lang="it-IT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  <a:t>permettendo loro l’ accesso al mondo </a:t>
            </a:r>
          </a:p>
          <a:p>
            <a:pPr>
              <a:defRPr/>
            </a:pPr>
            <a:r>
              <a:rPr lang="it-IT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  <a:t>dell’istruzione </a:t>
            </a:r>
            <a:br>
              <a:rPr lang="it-IT" sz="2400" b="0" cap="none" dirty="0">
                <a:solidFill>
                  <a:sysClr val="window" lastClr="FFFFFF"/>
                </a:solidFill>
                <a:latin typeface="Barlow" panose="00000500000000000000" pitchFamily="2" charset="0"/>
              </a:rPr>
            </a:br>
            <a:endParaRPr lang="it-IT" sz="2400" b="0" cap="none" dirty="0">
              <a:solidFill>
                <a:sysClr val="window" lastClr="FFFFFF"/>
              </a:solidFill>
              <a:latin typeface="Barlow" panose="00000500000000000000" pitchFamily="2" charset="0"/>
            </a:endParaRPr>
          </a:p>
        </p:txBody>
      </p:sp>
      <p:sp>
        <p:nvSpPr>
          <p:cNvPr id="11" name="Right Triangle 10">
            <a:extLst>
              <a:ext uri="{FF2B5EF4-FFF2-40B4-BE49-F238E27FC236}">
                <a16:creationId xmlns:a16="http://schemas.microsoft.com/office/drawing/2014/main" id="{92F89974-2466-ECDE-C078-AB2E12064D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6200000">
            <a:off x="3341473" y="3325640"/>
            <a:ext cx="3492560" cy="3594098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10000"/>
              </a:lnSpc>
            </a:pPr>
            <a:endParaRPr lang="en-GB" sz="1400" err="1">
              <a:solidFill>
                <a:schemeClr val="tx1"/>
              </a:solidFill>
            </a:endParaRPr>
          </a:p>
        </p:txBody>
      </p:sp>
      <p:pic>
        <p:nvPicPr>
          <p:cNvPr id="6" name="Graphique 8">
            <a:extLst>
              <a:ext uri="{FF2B5EF4-FFF2-40B4-BE49-F238E27FC236}">
                <a16:creationId xmlns:a16="http://schemas.microsoft.com/office/drawing/2014/main" id="{F148816F-6A23-21D2-3180-E28156FF9FA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78241" y="6060461"/>
            <a:ext cx="612531" cy="56105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5A39D16-3A7E-FA22-0DBB-B83415E27D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5107" y="6031948"/>
            <a:ext cx="1672464" cy="61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6785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5000"/>
    </mc:Choice>
    <mc:Fallback xmlns="">
      <p:transition spd="slow" advTm="500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C1E8CF-A0E8-EBAF-EDD1-FEA8400A26EC}"/>
              </a:ext>
            </a:extLst>
          </p:cNvPr>
          <p:cNvSpPr/>
          <p:nvPr/>
        </p:nvSpPr>
        <p:spPr>
          <a:xfrm>
            <a:off x="-9872" y="0"/>
            <a:ext cx="686787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73069D3-9D5E-ABB3-14DC-DB0116BB50D4}"/>
              </a:ext>
            </a:extLst>
          </p:cNvPr>
          <p:cNvSpPr txBox="1">
            <a:spLocks/>
          </p:cNvSpPr>
          <p:nvPr/>
        </p:nvSpPr>
        <p:spPr>
          <a:xfrm>
            <a:off x="2468296" y="587671"/>
            <a:ext cx="6525344" cy="56105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Chi </a:t>
            </a:r>
            <a:r>
              <a:rPr lang="en-GB" sz="3200" dirty="0" err="1">
                <a:solidFill>
                  <a:sysClr val="window" lastClr="FFFFFF"/>
                </a:solidFill>
                <a:latin typeface="Barlow Semi Condensed ExtraBold"/>
              </a:rPr>
              <a:t>stiamo</a:t>
            </a: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 </a:t>
            </a:r>
            <a:r>
              <a:rPr lang="en-GB" sz="3200" dirty="0" err="1">
                <a:solidFill>
                  <a:sysClr val="window" lastClr="FFFFFF"/>
                </a:solidFill>
                <a:latin typeface="Barlow Semi Condensed ExtraBold"/>
              </a:rPr>
              <a:t>sostenendo</a:t>
            </a:r>
            <a:endParaRPr lang="en-GB" sz="3200" dirty="0">
              <a:solidFill>
                <a:sysClr val="window" lastClr="FFFFFF"/>
              </a:solidFill>
              <a:latin typeface="Barlow Semi Condensed ExtraBold"/>
            </a:endParaRPr>
          </a:p>
          <a:p>
            <a:pPr>
              <a:defRPr/>
            </a:pPr>
            <a:r>
              <a:rPr lang="en-GB" sz="3200" dirty="0" err="1">
                <a:solidFill>
                  <a:sysClr val="window" lastClr="FFFFFF"/>
                </a:solidFill>
                <a:latin typeface="Barlow Semi Condensed ExtraBold"/>
              </a:rPr>
              <a:t>Attraverso</a:t>
            </a: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 </a:t>
            </a:r>
            <a:r>
              <a:rPr lang="en-GB" sz="3200" dirty="0" err="1">
                <a:solidFill>
                  <a:sysClr val="window" lastClr="FFFFFF"/>
                </a:solidFill>
                <a:latin typeface="Barlow Semi Condensed ExtraBold"/>
              </a:rPr>
              <a:t>questo</a:t>
            </a:r>
            <a:endParaRPr lang="en-GB" sz="3200" dirty="0">
              <a:solidFill>
                <a:sysClr val="window" lastClr="FFFFFF"/>
              </a:solidFill>
              <a:latin typeface="Barlow Semi Condensed ExtraBold"/>
            </a:endParaRPr>
          </a:p>
          <a:p>
            <a:pPr>
              <a:defRPr/>
            </a:pPr>
            <a:r>
              <a:rPr lang="en-GB" sz="3200" dirty="0" err="1">
                <a:solidFill>
                  <a:sysClr val="window" lastClr="FFFFFF"/>
                </a:solidFill>
                <a:latin typeface="Barlow Semi Condensed ExtraBold"/>
              </a:rPr>
              <a:t>progetto</a:t>
            </a:r>
            <a:r>
              <a:rPr lang="en-GB" sz="3200" dirty="0">
                <a:solidFill>
                  <a:sysClr val="window" lastClr="FFFFFF"/>
                </a:solidFill>
                <a:latin typeface="Barlow Semi Condensed ExtraBold"/>
              </a:rPr>
              <a:t>?</a:t>
            </a:r>
          </a:p>
        </p:txBody>
      </p:sp>
      <p:sp>
        <p:nvSpPr>
          <p:cNvPr id="2" name="TextBox 20">
            <a:extLst>
              <a:ext uri="{FF2B5EF4-FFF2-40B4-BE49-F238E27FC236}">
                <a16:creationId xmlns:a16="http://schemas.microsoft.com/office/drawing/2014/main" id="{7B560EF3-4308-AE9B-B740-9276E1763948}"/>
              </a:ext>
            </a:extLst>
          </p:cNvPr>
          <p:cNvSpPr txBox="1"/>
          <p:nvPr/>
        </p:nvSpPr>
        <p:spPr>
          <a:xfrm>
            <a:off x="2602408" y="2510220"/>
            <a:ext cx="5455634" cy="232679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Un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gruppo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 di 30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bambin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*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Dai 5 ai 17 anni,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10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adolescenti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 e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40 </a:t>
            </a:r>
            <a:r>
              <a:rPr kumimoji="0" lang="en-US" sz="2800" b="1" i="0" u="none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famigli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e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provenienti</a:t>
            </a:r>
            <a:endParaRPr lang="en-US" sz="2800" b="1" dirty="0">
              <a:solidFill>
                <a:schemeClr val="bg1"/>
              </a:solidFill>
              <a:latin typeface="Barlow"/>
              <a:ea typeface="+mj-ea"/>
              <a:cs typeface="+mj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dalle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 zone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rurali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 </a:t>
            </a:r>
            <a:r>
              <a:rPr lang="en-US" sz="2800" b="1" dirty="0" err="1">
                <a:solidFill>
                  <a:schemeClr val="bg1"/>
                </a:solidFill>
                <a:latin typeface="Barlow"/>
                <a:ea typeface="+mj-ea"/>
                <a:cs typeface="+mj-cs"/>
              </a:rPr>
              <a:t>della</a:t>
            </a:r>
            <a:r>
              <a:rPr lang="en-US" sz="2800" b="1" dirty="0">
                <a:solidFill>
                  <a:schemeClr val="bg1"/>
                </a:solidFill>
                <a:latin typeface="Barlow"/>
                <a:ea typeface="+mj-ea"/>
                <a:cs typeface="+mj-c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Barlow"/>
                <a:ea typeface="+mj-ea"/>
                <a:cs typeface="+mj-cs"/>
              </a:rPr>
              <a:t>Tanzania. </a:t>
            </a:r>
          </a:p>
        </p:txBody>
      </p:sp>
      <p:pic>
        <p:nvPicPr>
          <p:cNvPr id="9" name="Picture 43">
            <a:extLst>
              <a:ext uri="{FF2B5EF4-FFF2-40B4-BE49-F238E27FC236}">
                <a16:creationId xmlns:a16="http://schemas.microsoft.com/office/drawing/2014/main" id="{827319CE-AC01-7C1B-4D9C-321D032D1A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410" t="580" r="29518" b="-580"/>
          <a:stretch/>
        </p:blipFill>
        <p:spPr>
          <a:xfrm>
            <a:off x="-9872" y="0"/>
            <a:ext cx="2209586" cy="4863880"/>
          </a:xfrm>
          <a:custGeom>
            <a:avLst/>
            <a:gdLst>
              <a:gd name="connsiteX0" fmla="*/ 0 w 2768089"/>
              <a:gd name="connsiteY0" fmla="*/ 0 h 6093293"/>
              <a:gd name="connsiteX1" fmla="*/ 2768089 w 2768089"/>
              <a:gd name="connsiteY1" fmla="*/ 0 h 6093293"/>
              <a:gd name="connsiteX2" fmla="*/ 2768089 w 2768089"/>
              <a:gd name="connsiteY2" fmla="*/ 5629944 h 6093293"/>
              <a:gd name="connsiteX3" fmla="*/ 2291270 w 2768089"/>
              <a:gd name="connsiteY3" fmla="*/ 6093293 h 6093293"/>
              <a:gd name="connsiteX4" fmla="*/ 2768089 w 2768089"/>
              <a:gd name="connsiteY4" fmla="*/ 6093293 h 6093293"/>
              <a:gd name="connsiteX5" fmla="*/ 2768089 w 2768089"/>
              <a:gd name="connsiteY5" fmla="*/ 6093293 h 6093293"/>
              <a:gd name="connsiteX6" fmla="*/ 0 w 2768089"/>
              <a:gd name="connsiteY6" fmla="*/ 6093293 h 609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68089" h="6093293">
                <a:moveTo>
                  <a:pt x="0" y="0"/>
                </a:moveTo>
                <a:lnTo>
                  <a:pt x="2768089" y="0"/>
                </a:lnTo>
                <a:lnTo>
                  <a:pt x="2768089" y="5629944"/>
                </a:lnTo>
                <a:lnTo>
                  <a:pt x="2291270" y="6093293"/>
                </a:lnTo>
                <a:lnTo>
                  <a:pt x="2768089" y="6093293"/>
                </a:lnTo>
                <a:lnTo>
                  <a:pt x="2768089" y="6093293"/>
                </a:lnTo>
                <a:lnTo>
                  <a:pt x="0" y="6093293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80978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7000"/>
    </mc:Choice>
    <mc:Fallback xmlns="">
      <p:transition spd="slow" advTm="7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32C1E8CF-A0E8-EBAF-EDD1-FEA8400A26EC}"/>
              </a:ext>
            </a:extLst>
          </p:cNvPr>
          <p:cNvSpPr/>
          <p:nvPr/>
        </p:nvSpPr>
        <p:spPr>
          <a:xfrm>
            <a:off x="-9872" y="-1"/>
            <a:ext cx="6867872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" name="Picture 43">
            <a:extLst>
              <a:ext uri="{FF2B5EF4-FFF2-40B4-BE49-F238E27FC236}">
                <a16:creationId xmlns:a16="http://schemas.microsoft.com/office/drawing/2014/main" id="{F1962B5E-0536-6138-AF3B-8829E37E6F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14" r="19714"/>
          <a:stretch/>
        </p:blipFill>
        <p:spPr>
          <a:xfrm>
            <a:off x="4376691" y="1395985"/>
            <a:ext cx="2481309" cy="5462015"/>
          </a:xfrm>
          <a:custGeom>
            <a:avLst/>
            <a:gdLst>
              <a:gd name="connsiteX0" fmla="*/ 0 w 2768089"/>
              <a:gd name="connsiteY0" fmla="*/ 0 h 6093293"/>
              <a:gd name="connsiteX1" fmla="*/ 2768089 w 2768089"/>
              <a:gd name="connsiteY1" fmla="*/ 0 h 6093293"/>
              <a:gd name="connsiteX2" fmla="*/ 2768089 w 2768089"/>
              <a:gd name="connsiteY2" fmla="*/ 5629944 h 6093293"/>
              <a:gd name="connsiteX3" fmla="*/ 2291270 w 2768089"/>
              <a:gd name="connsiteY3" fmla="*/ 6093293 h 6093293"/>
              <a:gd name="connsiteX4" fmla="*/ 2768089 w 2768089"/>
              <a:gd name="connsiteY4" fmla="*/ 6093293 h 6093293"/>
              <a:gd name="connsiteX5" fmla="*/ 2768089 w 2768089"/>
              <a:gd name="connsiteY5" fmla="*/ 6093293 h 6093293"/>
              <a:gd name="connsiteX6" fmla="*/ 0 w 2768089"/>
              <a:gd name="connsiteY6" fmla="*/ 6093293 h 60932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68089" h="6093293">
                <a:moveTo>
                  <a:pt x="0" y="0"/>
                </a:moveTo>
                <a:lnTo>
                  <a:pt x="2768089" y="0"/>
                </a:lnTo>
                <a:lnTo>
                  <a:pt x="2768089" y="5629944"/>
                </a:lnTo>
                <a:lnTo>
                  <a:pt x="2291270" y="6093293"/>
                </a:lnTo>
                <a:lnTo>
                  <a:pt x="2768089" y="6093293"/>
                </a:lnTo>
                <a:lnTo>
                  <a:pt x="2768089" y="6093293"/>
                </a:lnTo>
                <a:lnTo>
                  <a:pt x="0" y="6093293"/>
                </a:lnTo>
                <a:close/>
              </a:path>
            </a:pathLst>
          </a:cu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73069D3-9D5E-ABB3-14DC-DB0116BB50D4}"/>
              </a:ext>
            </a:extLst>
          </p:cNvPr>
          <p:cNvSpPr txBox="1">
            <a:spLocks/>
          </p:cNvSpPr>
          <p:nvPr/>
        </p:nvSpPr>
        <p:spPr>
          <a:xfrm>
            <a:off x="227789" y="1066807"/>
            <a:ext cx="6525344" cy="56105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it-IT" sz="3200" dirty="0">
                <a:solidFill>
                  <a:sysClr val="window" lastClr="FFFFFF"/>
                </a:solidFill>
                <a:latin typeface="Barlow Semi Condensed ExtraBold"/>
              </a:rPr>
              <a:t>Come li sosteniamo?</a:t>
            </a:r>
          </a:p>
        </p:txBody>
      </p:sp>
      <p:sp>
        <p:nvSpPr>
          <p:cNvPr id="2" name="TextBox 20">
            <a:extLst>
              <a:ext uri="{FF2B5EF4-FFF2-40B4-BE49-F238E27FC236}">
                <a16:creationId xmlns:a16="http://schemas.microsoft.com/office/drawing/2014/main" id="{7B560EF3-4308-AE9B-B740-9276E1763948}"/>
              </a:ext>
            </a:extLst>
          </p:cNvPr>
          <p:cNvSpPr txBox="1"/>
          <p:nvPr/>
        </p:nvSpPr>
        <p:spPr>
          <a:xfrm>
            <a:off x="227789" y="1767006"/>
            <a:ext cx="4169113" cy="39887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Accesso al mondo dell’ istruzione;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Accesso a centri di formazione o apprendistato;</a:t>
            </a: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it-IT" sz="2400" b="1" dirty="0">
              <a:solidFill>
                <a:schemeClr val="bg1"/>
              </a:solidFill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Riunificazione familiare;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it-IT" sz="2400" b="1" dirty="0">
              <a:solidFill>
                <a:schemeClr val="bg1"/>
              </a:solidFill>
              <a:latin typeface="Barlow" panose="00000500000000000000" pitchFamily="2" charset="0"/>
              <a:ea typeface="+mj-ea"/>
              <a:cs typeface="+mj-cs"/>
            </a:endParaRPr>
          </a:p>
          <a:p>
            <a:pPr marL="457200" marR="0" lvl="0" indent="-45720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it-IT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Coinvolgendo le comunità </a:t>
            </a:r>
          </a:p>
          <a:p>
            <a:pPr marR="0" lvl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2400" b="1" dirty="0">
                <a:solidFill>
                  <a:schemeClr val="bg1"/>
                </a:solidFill>
                <a:latin typeface="Barlow" panose="00000500000000000000" pitchFamily="2" charset="0"/>
                <a:ea typeface="+mj-ea"/>
                <a:cs typeface="+mj-cs"/>
              </a:rPr>
              <a:t>       al supporto dei genitori più               vulnerabili.</a:t>
            </a:r>
            <a:endParaRPr kumimoji="0" lang="it-IT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Barlow" panose="00000500000000000000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441651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1000"/>
    </mc:Choice>
    <mc:Fallback xmlns="">
      <p:transition spd="slow" advTm="1100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CECCD0E-2DE6-CCA2-FD75-F6DF9B9721AB}"/>
              </a:ext>
            </a:extLst>
          </p:cNvPr>
          <p:cNvSpPr/>
          <p:nvPr/>
        </p:nvSpPr>
        <p:spPr>
          <a:xfrm>
            <a:off x="0" y="0"/>
            <a:ext cx="6858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pic>
        <p:nvPicPr>
          <p:cNvPr id="3" name="Graphique 8">
            <a:extLst>
              <a:ext uri="{FF2B5EF4-FFF2-40B4-BE49-F238E27FC236}">
                <a16:creationId xmlns:a16="http://schemas.microsoft.com/office/drawing/2014/main" id="{507C3C1B-C8F8-A6E3-00A4-CF956C289B9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4455" y="4897068"/>
            <a:ext cx="1698186" cy="1555482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A1ABC76-E390-D0FB-5A6F-4F671A57C0E9}"/>
              </a:ext>
            </a:extLst>
          </p:cNvPr>
          <p:cNvSpPr txBox="1">
            <a:spLocks/>
          </p:cNvSpPr>
          <p:nvPr/>
        </p:nvSpPr>
        <p:spPr>
          <a:xfrm>
            <a:off x="128589" y="1261919"/>
            <a:ext cx="6600822" cy="128211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 cap="all" spc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defRPr/>
            </a:pPr>
            <a:r>
              <a:rPr lang="en-GB" sz="4000" dirty="0" err="1">
                <a:solidFill>
                  <a:sysClr val="window" lastClr="FFFFFF"/>
                </a:solidFill>
                <a:latin typeface="Barlow Semi Condensed ExtraBold"/>
              </a:rPr>
              <a:t>Questo</a:t>
            </a:r>
            <a:r>
              <a:rPr lang="en-GB" sz="4000" dirty="0">
                <a:solidFill>
                  <a:sysClr val="window" lastClr="FFFFFF"/>
                </a:solidFill>
                <a:latin typeface="Barlow Semi Condensed ExtraBold"/>
              </a:rPr>
              <a:t> Progetto </a:t>
            </a:r>
            <a:r>
              <a:rPr lang="en-GB" sz="4000" dirty="0" err="1">
                <a:solidFill>
                  <a:sysClr val="window" lastClr="FFFFFF"/>
                </a:solidFill>
                <a:latin typeface="Barlow Semi Condensed ExtraBold"/>
              </a:rPr>
              <a:t>è</a:t>
            </a:r>
            <a:r>
              <a:rPr lang="en-GB" sz="4000" dirty="0">
                <a:solidFill>
                  <a:sysClr val="window" lastClr="FFFFFF"/>
                </a:solidFill>
                <a:latin typeface="Barlow Semi Condensed ExtraBold"/>
              </a:rPr>
              <a:t> </a:t>
            </a:r>
            <a:r>
              <a:rPr lang="en-GB" sz="4000" dirty="0" err="1">
                <a:solidFill>
                  <a:sysClr val="window" lastClr="FFFFFF"/>
                </a:solidFill>
                <a:latin typeface="Barlow Semi Condensed ExtraBold"/>
              </a:rPr>
              <a:t>finanziato</a:t>
            </a:r>
            <a:r>
              <a:rPr lang="en-GB" sz="4000" dirty="0">
                <a:solidFill>
                  <a:sysClr val="window" lastClr="FFFFFF"/>
                </a:solidFill>
                <a:latin typeface="Barlow Semi Condensed ExtraBold"/>
              </a:rPr>
              <a:t> da Ipsos </a:t>
            </a:r>
          </a:p>
          <a:p>
            <a:pPr algn="ctr">
              <a:defRPr/>
            </a:pPr>
            <a:endParaRPr lang="en-GB" sz="4000" dirty="0">
              <a:solidFill>
                <a:sysClr val="window" lastClr="FFFFFF"/>
              </a:solidFill>
              <a:latin typeface="Barlow Semi Condensed ExtraBold"/>
            </a:endParaRPr>
          </a:p>
        </p:txBody>
      </p:sp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AF6983C5-1DB9-9500-B4E2-64F9A2064E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7854" y="5155014"/>
            <a:ext cx="2813008" cy="1039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8023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psos Foundation - KISEDET - V2" id="{6967D4F2-1750-FA4E-AB01-43CA30FA8E1A}" vid="{07706EDD-7DFF-BF4B-B9FC-E67D27D463F0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75AD9DC4239A47AB6FDC49FCFB618A" ma:contentTypeVersion="6" ma:contentTypeDescription="Create a new document." ma:contentTypeScope="" ma:versionID="5a25462a6051fd44c8b6fecdb0076c96">
  <xsd:schema xmlns:xsd="http://www.w3.org/2001/XMLSchema" xmlns:xs="http://www.w3.org/2001/XMLSchema" xmlns:p="http://schemas.microsoft.com/office/2006/metadata/properties" xmlns:ns2="85c76272-7e4d-4f8f-89d1-3b227e52ef43" xmlns:ns3="a1549414-1dcc-402f-ba9b-44c1b3f5d57c" targetNamespace="http://schemas.microsoft.com/office/2006/metadata/properties" ma:root="true" ma:fieldsID="6936dcceafec7982565e6ff282441213" ns2:_="" ns3:_="">
    <xsd:import namespace="85c76272-7e4d-4f8f-89d1-3b227e52ef43"/>
    <xsd:import namespace="a1549414-1dcc-402f-ba9b-44c1b3f5d57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c76272-7e4d-4f8f-89d1-3b227e52ef4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549414-1dcc-402f-ba9b-44c1b3f5d5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C0ACA2A-D828-4FD0-94B1-4280FB489D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473E1C-6E32-4541-930D-84486C0D1655}">
  <ds:schemaRefs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schemas.microsoft.com/office/2006/documentManagement/types"/>
    <ds:schemaRef ds:uri="a1549414-1dcc-402f-ba9b-44c1b3f5d57c"/>
    <ds:schemaRef ds:uri="85c76272-7e4d-4f8f-89d1-3b227e52ef43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2121A726-3EE4-4418-9FB5-3B40BFAD9B0B}">
  <ds:schemaRefs>
    <ds:schemaRef ds:uri="85c76272-7e4d-4f8f-89d1-3b227e52ef43"/>
    <ds:schemaRef ds:uri="a1549414-1dcc-402f-ba9b-44c1b3f5d57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PSOS - Classical Template - 16x9</Template>
  <TotalTime>60</TotalTime>
  <Words>101</Words>
  <Application>Microsoft Macintosh PowerPoint</Application>
  <PresentationFormat>Custom</PresentationFormat>
  <Paragraphs>28</Paragraphs>
  <Slides>4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3" baseType="lpstr">
      <vt:lpstr>Barlow Semi Condensed ExtraBold</vt:lpstr>
      <vt:lpstr>Barlow</vt:lpstr>
      <vt:lpstr>Calibri</vt:lpstr>
      <vt:lpstr>Arial Black</vt:lpstr>
      <vt:lpstr>Aptos</vt:lpstr>
      <vt:lpstr>HelveticaNeueLT Std Lt Cn</vt:lpstr>
      <vt:lpstr>Arial</vt:lpstr>
      <vt:lpstr>IPSOS - Classical Template - 16x9</vt:lpstr>
      <vt:lpstr>Diapositive think-cell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Luca Scudiero</dc:creator>
  <cp:lastModifiedBy>Luca Scudiero</cp:lastModifiedBy>
  <cp:revision>4</cp:revision>
  <dcterms:created xsi:type="dcterms:W3CDTF">2025-01-30T06:16:45Z</dcterms:created>
  <dcterms:modified xsi:type="dcterms:W3CDTF">2025-01-30T07:32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75AD9DC4239A47AB6FDC49FCFB618A</vt:lpwstr>
  </property>
</Properties>
</file>